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1"/>
  </p:notesMasterIdLst>
  <p:handoutMasterIdLst>
    <p:handoutMasterId r:id="rId12"/>
  </p:handoutMasterIdLst>
  <p:sldIdLst>
    <p:sldId id="905" r:id="rId4"/>
    <p:sldId id="908" r:id="rId5"/>
    <p:sldId id="918" r:id="rId6"/>
    <p:sldId id="920" r:id="rId7"/>
    <p:sldId id="917" r:id="rId8"/>
    <p:sldId id="919" r:id="rId9"/>
    <p:sldId id="921" r:id="rId10"/>
  </p:sldIdLst>
  <p:sldSz cx="9144000" cy="5143500" type="screen16x9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08"/>
            <p14:sldId id="918"/>
            <p14:sldId id="920"/>
            <p14:sldId id="917"/>
            <p14:sldId id="919"/>
            <p14:sldId id="92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2" autoAdjust="0"/>
    <p:restoredTop sz="99543" autoAdjust="0"/>
  </p:normalViewPr>
  <p:slideViewPr>
    <p:cSldViewPr showGuides="1">
      <p:cViewPr>
        <p:scale>
          <a:sx n="100" d="100"/>
          <a:sy n="100" d="100"/>
        </p:scale>
        <p:origin x="-782" y="-686"/>
      </p:cViewPr>
      <p:guideLst>
        <p:guide orient="horz" pos="293"/>
        <p:guide pos="5602"/>
        <p:guide pos="158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4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879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Тематическое моделирование на данных проводок</a:t>
            </a:r>
            <a:r>
              <a:rPr lang="ru-RU" sz="2800" dirty="0" smtClean="0">
                <a:solidFill>
                  <a:srgbClr val="FF0000"/>
                </a:solidFill>
              </a:rPr>
              <a:t>.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400" y="843509"/>
            <a:ext cx="799622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400" dirty="0"/>
              <a:t>Обучающая </a:t>
            </a:r>
            <a:r>
              <a:rPr lang="ru-RU" sz="1400" dirty="0" smtClean="0"/>
              <a:t>выборка</a:t>
            </a:r>
            <a:r>
              <a:rPr lang="en-US" sz="1400" dirty="0" smtClean="0"/>
              <a:t> </a:t>
            </a:r>
            <a:r>
              <a:rPr lang="ru-RU" sz="1400" dirty="0" smtClean="0"/>
              <a:t>37864 объектов  - 4083 уникальных к</a:t>
            </a:r>
            <a:r>
              <a:rPr lang="ru-RU" sz="1400" dirty="0" smtClean="0"/>
              <a:t>лиентов за 2015 год.</a:t>
            </a:r>
            <a:endParaRPr lang="en-US" sz="1400" dirty="0" smtClean="0"/>
          </a:p>
          <a:p>
            <a:pPr marL="228600" indent="-228600">
              <a:buAutoNum type="arabicPeriod"/>
            </a:pPr>
            <a:r>
              <a:rPr lang="ru-RU" sz="1400" dirty="0" smtClean="0"/>
              <a:t>Целевая переменная банкротство в течении года от даты наблюдения. </a:t>
            </a:r>
          </a:p>
          <a:p>
            <a:pPr marL="228600" indent="-228600">
              <a:buAutoNum type="arabicPeriod"/>
            </a:pPr>
            <a:r>
              <a:rPr lang="ru-RU" sz="1400" dirty="0" smtClean="0"/>
              <a:t>Метод –  логистическая регрессия на признаках сформированных тематической моделью.</a:t>
            </a:r>
            <a:endParaRPr lang="ru-RU" sz="14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Формирование признакового описания объекта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248304" y="627480"/>
            <a:ext cx="870034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 smtClean="0"/>
          </a:p>
          <a:p>
            <a:pPr marL="228600" indent="-228600">
              <a:buAutoNum type="arabicPeriod"/>
            </a:pPr>
            <a:r>
              <a:rPr lang="ru-RU" sz="1200" dirty="0" smtClean="0"/>
              <a:t>Объединение комментариев к проводкам за месячный период в один текст</a:t>
            </a:r>
            <a:r>
              <a:rPr lang="en-US" sz="1200" dirty="0" smtClean="0"/>
              <a:t>:</a:t>
            </a:r>
          </a:p>
          <a:p>
            <a:r>
              <a:rPr lang="ru-RU" sz="1200" dirty="0" smtClean="0"/>
              <a:t> </a:t>
            </a:r>
            <a:endParaRPr lang="ru-RU" sz="1200" dirty="0" smtClean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  <a:p>
            <a:endParaRPr lang="ru-RU" sz="1200" dirty="0" smtClean="0"/>
          </a:p>
          <a:p>
            <a:r>
              <a:rPr lang="en-US" sz="1200" dirty="0" smtClean="0"/>
              <a:t>    </a:t>
            </a:r>
            <a:r>
              <a:rPr lang="ru-RU" sz="1200" dirty="0" smtClean="0"/>
              <a:t> Результат</a:t>
            </a:r>
            <a:r>
              <a:rPr lang="en-US" sz="1200" dirty="0" smtClean="0"/>
              <a:t>:</a:t>
            </a:r>
            <a:r>
              <a:rPr lang="ru-RU" sz="1200" dirty="0" smtClean="0"/>
              <a:t> </a:t>
            </a:r>
            <a:endParaRPr lang="ru-RU" sz="1200" dirty="0"/>
          </a:p>
          <a:p>
            <a:endParaRPr lang="ru-RU" sz="1200" dirty="0" smtClean="0"/>
          </a:p>
          <a:p>
            <a:endParaRPr lang="ru-RU" sz="1200" dirty="0" smtClean="0"/>
          </a:p>
          <a:p>
            <a:endParaRPr lang="ru-RU" sz="1200" dirty="0" smtClean="0"/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9724506"/>
              </p:ext>
            </p:extLst>
          </p:nvPr>
        </p:nvGraphicFramePr>
        <p:xfrm>
          <a:off x="637928" y="1131550"/>
          <a:ext cx="7921100" cy="18338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120"/>
                <a:gridCol w="1008140"/>
                <a:gridCol w="3888540"/>
                <a:gridCol w="2160300"/>
              </a:tblGrid>
              <a:tr h="21603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lient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та</a:t>
                      </a:r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оводки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ст комментария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мматизация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60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19002169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5-01-12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'Оплата по Договору N24146 от 02.09.13, НДС не выделяется.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MISC комиссия 936.14,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err="1" smtClean="0"/>
                        <a:t>доп.ком</a:t>
                      </a:r>
                      <a:r>
                        <a:rPr lang="ru-RU" sz="800" dirty="0" smtClean="0"/>
                        <a:t>. 384.56 руб., Дата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выручки 29-12-14по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10-01-15/VISA/SD37442.00,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CM823.72,AD384.56,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MAST/SD5110.00,</a:t>
                      </a:r>
                      <a:r>
                        <a:rPr lang="en-US" sz="800" dirty="0" smtClean="0"/>
                        <a:t> </a:t>
                      </a:r>
                      <a:r>
                        <a:rPr lang="ru-RU" sz="800" dirty="0" smtClean="0"/>
                        <a:t>CM112.42</a:t>
                      </a:r>
                      <a:endParaRPr lang="en-US" sz="8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плата по договор </a:t>
                      </a:r>
                      <a:r>
                        <a:rPr lang="ru-RU" sz="800" dirty="0" err="1" smtClean="0"/>
                        <a:t>ндс</a:t>
                      </a:r>
                      <a:r>
                        <a:rPr lang="ru-RU" sz="800" dirty="0" smtClean="0"/>
                        <a:t> не выделяться </a:t>
                      </a:r>
                      <a:r>
                        <a:rPr lang="ru-RU" sz="800" dirty="0" err="1" smtClean="0"/>
                        <a:t>misc</a:t>
                      </a:r>
                      <a:r>
                        <a:rPr lang="ru-RU" sz="800" dirty="0" smtClean="0"/>
                        <a:t> комиссия </a:t>
                      </a:r>
                      <a:r>
                        <a:rPr lang="ru-RU" sz="800" dirty="0" err="1" smtClean="0"/>
                        <a:t>доп</a:t>
                      </a:r>
                      <a:r>
                        <a:rPr lang="ru-RU" sz="800" dirty="0" smtClean="0"/>
                        <a:t> ком  рубль дата выручка по </a:t>
                      </a:r>
                      <a:r>
                        <a:rPr lang="ru-RU" sz="800" dirty="0" err="1" smtClean="0"/>
                        <a:t>mast</a:t>
                      </a:r>
                      <a:endParaRPr lang="ru-RU" sz="800" dirty="0" smtClean="0"/>
                    </a:p>
                    <a:p>
                      <a:r>
                        <a:rPr lang="ru-RU" sz="800" dirty="0" err="1" smtClean="0"/>
                        <a:t>visa</a:t>
                      </a:r>
                      <a:endParaRPr lang="ru-RU" sz="800" dirty="0"/>
                    </a:p>
                  </a:txBody>
                  <a:tcPr anchor="ctr"/>
                </a:tc>
              </a:tr>
              <a:tr h="45112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19002169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5-01-28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Оплата по Договору N24146 от 02.09.13, НДС не выделяется. MISC комиссия 623.79, Дата выручки 12-01-15по16-01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 smtClean="0"/>
                        <a:t>15/MAST/SD12216.00,CM268.75,VISA/SD16138.00,CM355.04</a:t>
                      </a:r>
                      <a:endParaRPr lang="ru-RU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плата по договор </a:t>
                      </a:r>
                      <a:r>
                        <a:rPr lang="ru-RU" sz="800" dirty="0" err="1" smtClean="0"/>
                        <a:t>ндс</a:t>
                      </a:r>
                      <a:r>
                        <a:rPr lang="ru-RU" sz="800" dirty="0" smtClean="0"/>
                        <a:t> не выделяться </a:t>
                      </a:r>
                      <a:r>
                        <a:rPr lang="ru-RU" sz="800" dirty="0" err="1" smtClean="0"/>
                        <a:t>misc</a:t>
                      </a:r>
                      <a:r>
                        <a:rPr lang="ru-RU" sz="800" dirty="0" smtClean="0"/>
                        <a:t> комиссия </a:t>
                      </a:r>
                      <a:r>
                        <a:rPr lang="ru-RU" sz="800" dirty="0" err="1" smtClean="0"/>
                        <a:t>доп</a:t>
                      </a:r>
                      <a:r>
                        <a:rPr lang="ru-RU" sz="800" dirty="0" smtClean="0"/>
                        <a:t> ком  рубль дата выручка по </a:t>
                      </a:r>
                      <a:r>
                        <a:rPr lang="ru-RU" sz="800" dirty="0" err="1" smtClean="0"/>
                        <a:t>mast</a:t>
                      </a:r>
                      <a:endParaRPr lang="ru-RU" sz="8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/>
                        <a:t>visa</a:t>
                      </a:r>
                      <a:endParaRPr lang="ru-RU" sz="800" dirty="0"/>
                    </a:p>
                  </a:txBody>
                  <a:tcPr anchor="ctr"/>
                </a:tc>
              </a:tr>
              <a:tr h="40127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19002169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5-01-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ФЕДОРОВА ОЛЬГА АЛЕКСЕЕВНА внесено на счет ИП </a:t>
                      </a:r>
                      <a:endParaRPr lang="ru-RU" sz="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dirty="0" err="1" smtClean="0"/>
                        <a:t>фёдоров</a:t>
                      </a:r>
                      <a:r>
                        <a:rPr lang="ru-RU" sz="800" dirty="0" smtClean="0"/>
                        <a:t> </a:t>
                      </a:r>
                      <a:r>
                        <a:rPr lang="ru-RU" sz="800" dirty="0" err="1" smtClean="0"/>
                        <a:t>ольга</a:t>
                      </a:r>
                      <a:r>
                        <a:rPr lang="ru-RU" sz="800" dirty="0" smtClean="0"/>
                        <a:t> </a:t>
                      </a:r>
                      <a:r>
                        <a:rPr lang="ru-RU" sz="800" dirty="0" err="1" smtClean="0"/>
                        <a:t>алексей</a:t>
                      </a:r>
                      <a:r>
                        <a:rPr lang="ru-RU" sz="800" dirty="0" smtClean="0"/>
                        <a:t> внести на счёт </a:t>
                      </a:r>
                      <a:r>
                        <a:rPr lang="ru-RU" sz="800" dirty="0" err="1" smtClean="0"/>
                        <a:t>ип</a:t>
                      </a:r>
                      <a:r>
                        <a:rPr lang="ru-RU" sz="800" dirty="0" smtClean="0"/>
                        <a:t> </a:t>
                      </a:r>
                      <a:endParaRPr lang="ru-RU" sz="800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7682175"/>
              </p:ext>
            </p:extLst>
          </p:nvPr>
        </p:nvGraphicFramePr>
        <p:xfrm>
          <a:off x="611450" y="3579890"/>
          <a:ext cx="7921100" cy="853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120"/>
                <a:gridCol w="945657"/>
                <a:gridCol w="6111323"/>
              </a:tblGrid>
              <a:tr h="21603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lient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та</a:t>
                      </a:r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оводки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мматизация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608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19002169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5-01-31</a:t>
                      </a: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плата по договор </a:t>
                      </a:r>
                      <a:r>
                        <a:rPr lang="ru-RU" sz="800" dirty="0" err="1" smtClean="0"/>
                        <a:t>ндс</a:t>
                      </a:r>
                      <a:r>
                        <a:rPr lang="ru-RU" sz="800" dirty="0" smtClean="0"/>
                        <a:t> не выделяться </a:t>
                      </a:r>
                      <a:r>
                        <a:rPr lang="ru-RU" sz="800" dirty="0" err="1" smtClean="0"/>
                        <a:t>misc</a:t>
                      </a:r>
                      <a:r>
                        <a:rPr lang="ru-RU" sz="800" dirty="0" smtClean="0"/>
                        <a:t> комиссия </a:t>
                      </a:r>
                      <a:r>
                        <a:rPr lang="ru-RU" sz="800" dirty="0" err="1" smtClean="0"/>
                        <a:t>доп</a:t>
                      </a:r>
                      <a:r>
                        <a:rPr lang="ru-RU" sz="800" dirty="0" smtClean="0"/>
                        <a:t> ком  рубль дата выручка по </a:t>
                      </a:r>
                      <a:r>
                        <a:rPr lang="ru-RU" sz="800" dirty="0" err="1" smtClean="0"/>
                        <a:t>mast</a:t>
                      </a:r>
                      <a:endParaRPr lang="ru-RU" sz="800" dirty="0" smtClean="0"/>
                    </a:p>
                    <a:p>
                      <a:pPr algn="l"/>
                      <a:r>
                        <a:rPr lang="en-US" sz="800" dirty="0" smtClean="0"/>
                        <a:t>v</a:t>
                      </a:r>
                      <a:r>
                        <a:rPr lang="ru-RU" sz="800" dirty="0" err="1" smtClean="0"/>
                        <a:t>isa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 smtClean="0"/>
                        <a:t>оплата по договор </a:t>
                      </a:r>
                      <a:r>
                        <a:rPr lang="ru-RU" sz="800" dirty="0" err="1" smtClean="0"/>
                        <a:t>ндс</a:t>
                      </a:r>
                      <a:r>
                        <a:rPr lang="ru-RU" sz="800" dirty="0" smtClean="0"/>
                        <a:t> не выделяться </a:t>
                      </a:r>
                      <a:r>
                        <a:rPr lang="ru-RU" sz="800" dirty="0" err="1" smtClean="0"/>
                        <a:t>misc</a:t>
                      </a:r>
                      <a:r>
                        <a:rPr lang="ru-RU" sz="800" dirty="0" smtClean="0"/>
                        <a:t> комиссия </a:t>
                      </a:r>
                      <a:r>
                        <a:rPr lang="ru-RU" sz="800" dirty="0" err="1" smtClean="0"/>
                        <a:t>доп</a:t>
                      </a:r>
                      <a:r>
                        <a:rPr lang="ru-RU" sz="800" dirty="0" smtClean="0"/>
                        <a:t> ком  рубль дата выручка по </a:t>
                      </a:r>
                      <a:r>
                        <a:rPr lang="ru-RU" sz="800" dirty="0" err="1" smtClean="0"/>
                        <a:t>mast</a:t>
                      </a:r>
                      <a:endParaRPr lang="ru-RU" sz="8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v</a:t>
                      </a:r>
                      <a:r>
                        <a:rPr lang="ru-RU" sz="800" dirty="0" err="1" smtClean="0"/>
                        <a:t>isa</a:t>
                      </a:r>
                      <a:r>
                        <a:rPr lang="ru-RU" sz="800" dirty="0" smtClean="0"/>
                        <a:t> </a:t>
                      </a:r>
                      <a:r>
                        <a:rPr lang="ru-RU" sz="800" dirty="0" err="1" smtClean="0"/>
                        <a:t>фёдоров</a:t>
                      </a:r>
                      <a:r>
                        <a:rPr lang="ru-RU" sz="800" dirty="0" smtClean="0"/>
                        <a:t> </a:t>
                      </a:r>
                      <a:r>
                        <a:rPr lang="ru-RU" sz="800" dirty="0" err="1" smtClean="0"/>
                        <a:t>ольга</a:t>
                      </a:r>
                      <a:r>
                        <a:rPr lang="ru-RU" sz="800" dirty="0" smtClean="0"/>
                        <a:t> </a:t>
                      </a:r>
                      <a:r>
                        <a:rPr lang="ru-RU" sz="800" dirty="0" err="1" smtClean="0"/>
                        <a:t>алексей</a:t>
                      </a:r>
                      <a:r>
                        <a:rPr lang="ru-RU" sz="800" dirty="0" smtClean="0"/>
                        <a:t> внести на счёт </a:t>
                      </a:r>
                      <a:r>
                        <a:rPr lang="ru-RU" sz="800" dirty="0" err="1" smtClean="0"/>
                        <a:t>ип</a:t>
                      </a:r>
                      <a:r>
                        <a:rPr lang="ru-RU" sz="800" dirty="0" smtClean="0"/>
                        <a:t> </a:t>
                      </a:r>
                    </a:p>
                    <a:p>
                      <a:pPr algn="ctr"/>
                      <a:endParaRPr lang="ru-RU" sz="8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Темат</a:t>
            </a:r>
            <a:r>
              <a:rPr lang="ru-RU" dirty="0" smtClean="0">
                <a:solidFill>
                  <a:srgbClr val="FF0000"/>
                </a:solidFill>
              </a:rPr>
              <a:t>ическое моделирование</a:t>
            </a:r>
            <a:endParaRPr lang="ru-RU" dirty="0"/>
          </a:p>
        </p:txBody>
      </p:sp>
      <p:pic>
        <p:nvPicPr>
          <p:cNvPr id="6021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565150"/>
            <a:ext cx="8591550" cy="401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Формирование признаков на основе тематик.</a:t>
            </a:r>
            <a:endParaRPr lang="ru-RU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468140"/>
              </p:ext>
            </p:extLst>
          </p:nvPr>
        </p:nvGraphicFramePr>
        <p:xfrm>
          <a:off x="2123660" y="843510"/>
          <a:ext cx="3672510" cy="253905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53330"/>
                <a:gridCol w="858880"/>
                <a:gridCol w="1373333"/>
                <a:gridCol w="786967"/>
              </a:tblGrid>
              <a:tr h="5040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u="none" strike="noStrike" kern="1200" dirty="0" smtClean="0">
                          <a:effectLst/>
                        </a:rPr>
                        <a:t>fclient1</a:t>
                      </a:r>
                      <a:endParaRPr lang="ru-RU" sz="1100" u="none" strike="noStrike" kern="1200" dirty="0" smtClean="0">
                        <a:effectLst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октябрь</a:t>
                      </a:r>
                      <a:r>
                        <a:rPr lang="ru-RU" sz="1100" u="none" strike="noStrike" kern="1200" dirty="0">
                          <a:effectLst/>
                        </a:rPr>
                        <a:t/>
                      </a:r>
                      <a:br>
                        <a:rPr lang="ru-RU" sz="1100" u="none" strike="noStrike" kern="1200" dirty="0">
                          <a:effectLst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Обороты клиента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Оборот по тематике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</a:tr>
              <a:tr h="50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bj0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20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 000 00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00 00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</a:tr>
              <a:tr h="50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bj1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80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effectLst/>
                        </a:rPr>
                        <a:t>1 000 000</a:t>
                      </a:r>
                    </a:p>
                    <a:p>
                      <a:pPr marL="0" algn="ctr" defTabSz="914400" rtl="0" eaLnBrk="1" fontAlgn="b" latinLnBrk="0" hangingPunct="1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800 00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</a:tr>
              <a:tr h="50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sbj2</a:t>
                      </a:r>
                      <a:br>
                        <a:rPr lang="en-US" sz="1100" u="none" strike="noStrike">
                          <a:effectLst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0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effectLst/>
                        </a:rPr>
                        <a:t>1 000 000</a:t>
                      </a:r>
                    </a:p>
                    <a:p>
                      <a:pPr marL="0" algn="ctr" defTabSz="914400" rtl="0" eaLnBrk="1" fontAlgn="b" latinLnBrk="0" hangingPunct="1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</a:tr>
              <a:tr h="507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sbj3</a:t>
                      </a:r>
                      <a:br>
                        <a:rPr lang="en-US" sz="1100" u="none" strike="noStrike">
                          <a:effectLst/>
                        </a:rPr>
                      </a:b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0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effectLst/>
                        </a:rPr>
                        <a:t>1 000 000</a:t>
                      </a:r>
                    </a:p>
                    <a:p>
                      <a:pPr marL="0" algn="ctr" defTabSz="914400" rtl="0" eaLnBrk="1" fontAlgn="b" latinLnBrk="0" hangingPunct="1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513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Результат работы модели тематического моделирования.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222722"/>
              </p:ext>
            </p:extLst>
          </p:nvPr>
        </p:nvGraphicFramePr>
        <p:xfrm>
          <a:off x="677029" y="970438"/>
          <a:ext cx="7705070" cy="2880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80150"/>
                <a:gridCol w="1260176"/>
                <a:gridCol w="5364744"/>
              </a:tblGrid>
              <a:tr h="9222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матики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50000"/>
                        </a:lnSpc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рреляция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ирмена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ова определяющие темы 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8100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sbj33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-0.107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 сумма от </a:t>
                      </a:r>
                      <a:r>
                        <a:rPr lang="ru-RU" sz="1200" dirty="0" err="1" smtClean="0"/>
                        <a:t>сч</a:t>
                      </a:r>
                      <a:r>
                        <a:rPr lang="ru-RU" sz="1200" dirty="0" smtClean="0"/>
                        <a:t> налог оплата  договор транспортный </a:t>
                      </a:r>
                      <a:endParaRPr lang="en-US" sz="1200" dirty="0" smtClean="0"/>
                    </a:p>
                  </a:txBody>
                  <a:tcPr anchor="ctr"/>
                </a:tc>
              </a:tr>
              <a:tr h="45497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sbj29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-0.104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 </a:t>
                      </a:r>
                      <a:r>
                        <a:rPr lang="ru-RU" sz="1200" dirty="0" err="1" smtClean="0"/>
                        <a:t>ндс</a:t>
                      </a:r>
                      <a:r>
                        <a:rPr lang="ru-RU" sz="1200" dirty="0" smtClean="0"/>
                        <a:t> 18 товар накладный договор</a:t>
                      </a:r>
                      <a:endParaRPr lang="ru-RU" sz="1200" dirty="0"/>
                    </a:p>
                  </a:txBody>
                  <a:tcPr anchor="ctr"/>
                </a:tc>
              </a:tr>
              <a:tr h="4611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sbj22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-0.10</a:t>
                      </a:r>
                      <a:r>
                        <a:rPr lang="ru-RU" sz="1200" dirty="0" smtClean="0"/>
                        <a:t>2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ез </a:t>
                      </a:r>
                      <a:r>
                        <a:rPr lang="ru-RU" sz="1200" dirty="0" err="1" smtClean="0"/>
                        <a:t>ндс</a:t>
                      </a:r>
                      <a:r>
                        <a:rPr lang="ru-RU" sz="1200" dirty="0" smtClean="0"/>
                        <a:t> от по год сумма с услуга питание и накладный </a:t>
                      </a:r>
                      <a:r>
                        <a:rPr lang="ru-RU" sz="1200" dirty="0" err="1" smtClean="0"/>
                        <a:t>накл</a:t>
                      </a:r>
                      <a:r>
                        <a:rPr lang="ru-RU" sz="1200" dirty="0" smtClean="0"/>
                        <a:t> </a:t>
                      </a:r>
                      <a:endParaRPr lang="ru-RU" sz="1200" dirty="0"/>
                    </a:p>
                  </a:txBody>
                  <a:tcPr anchor="ctr"/>
                </a:tc>
              </a:tr>
              <a:tr h="46110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dirty="0" smtClean="0"/>
                        <a:t>sbj39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200" dirty="0" smtClean="0"/>
                        <a:t>-0.099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за по сумма не без </a:t>
                      </a:r>
                      <a:r>
                        <a:rPr lang="ru-RU" sz="1200" dirty="0" err="1" smtClean="0"/>
                        <a:t>ндс</a:t>
                      </a:r>
                      <a:r>
                        <a:rPr lang="ru-RU" sz="1200" dirty="0" smtClean="0"/>
                        <a:t> договор операция  средство и </a:t>
                      </a:r>
                      <a:r>
                        <a:rPr lang="ru-RU" sz="1200" dirty="0" err="1" smtClean="0"/>
                        <a:t>сч</a:t>
                      </a:r>
                      <a:r>
                        <a:rPr lang="ru-RU" sz="1200" dirty="0" smtClean="0"/>
                        <a:t> возврат дата </a:t>
                      </a:r>
                      <a:endParaRPr lang="ru-RU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-8749850" y="3850838"/>
            <a:ext cx="799622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400" dirty="0"/>
              <a:t>Обучающая </a:t>
            </a:r>
            <a:r>
              <a:rPr lang="ru-RU" sz="1400" dirty="0" smtClean="0"/>
              <a:t>выборка</a:t>
            </a:r>
            <a:r>
              <a:rPr lang="en-US" sz="1400" dirty="0" smtClean="0"/>
              <a:t> </a:t>
            </a:r>
            <a:r>
              <a:rPr lang="ru-RU" sz="1400" dirty="0" smtClean="0"/>
              <a:t>37864 объектов - 4083 уникальных к</a:t>
            </a:r>
            <a:r>
              <a:rPr lang="ru-RU" sz="1400" dirty="0" smtClean="0"/>
              <a:t>лиентов за 2015 год.</a:t>
            </a:r>
            <a:endParaRPr lang="en-US" sz="1400" dirty="0" smtClean="0"/>
          </a:p>
          <a:p>
            <a:pPr marL="228600" indent="-228600">
              <a:buAutoNum type="arabicPeriod"/>
            </a:pPr>
            <a:r>
              <a:rPr lang="ru-RU" sz="1400" dirty="0" smtClean="0"/>
              <a:t>Целевая переменная банкротство в течении года от даты наблюдения. </a:t>
            </a:r>
          </a:p>
          <a:p>
            <a:pPr marL="228600" indent="-228600">
              <a:buAutoNum type="arabicPeriod"/>
            </a:pPr>
            <a:r>
              <a:rPr lang="ru-RU" sz="1400" dirty="0" smtClean="0"/>
              <a:t>Метод –  логистическая регрессия на признаках сформированных тематической моделью.</a:t>
            </a:r>
            <a:endParaRPr lang="ru-RU" sz="14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Логистическая регрессия.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-8749850" y="3850838"/>
            <a:ext cx="799622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400" dirty="0"/>
              <a:t>Обучающая </a:t>
            </a:r>
            <a:r>
              <a:rPr lang="ru-RU" sz="1400" dirty="0" smtClean="0"/>
              <a:t>выборка</a:t>
            </a:r>
            <a:r>
              <a:rPr lang="en-US" sz="1400" dirty="0" smtClean="0"/>
              <a:t> </a:t>
            </a:r>
            <a:r>
              <a:rPr lang="ru-RU" sz="1400" dirty="0" smtClean="0"/>
              <a:t>37864 объектов - 4083 уникальных к</a:t>
            </a:r>
            <a:r>
              <a:rPr lang="ru-RU" sz="1400" dirty="0" smtClean="0"/>
              <a:t>лиентов за 2015 год.</a:t>
            </a:r>
            <a:endParaRPr lang="en-US" sz="1400" dirty="0" smtClean="0"/>
          </a:p>
          <a:p>
            <a:pPr marL="228600" indent="-228600">
              <a:buAutoNum type="arabicPeriod"/>
            </a:pPr>
            <a:r>
              <a:rPr lang="ru-RU" sz="1400" dirty="0" smtClean="0"/>
              <a:t>Целевая переменная банкротство в течении года от даты наблюдения. </a:t>
            </a:r>
          </a:p>
          <a:p>
            <a:pPr marL="228600" indent="-228600">
              <a:buAutoNum type="arabicPeriod"/>
            </a:pPr>
            <a:r>
              <a:rPr lang="ru-RU" sz="1400" dirty="0" smtClean="0"/>
              <a:t>Метод –  логистическая регрессия на признаках сформированных тематической моделью.</a:t>
            </a:r>
            <a:endParaRPr lang="ru-RU" sz="14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Прямоугольник 2"/>
              <p:cNvSpPr/>
              <p:nvPr/>
            </p:nvSpPr>
            <p:spPr>
              <a:xfrm>
                <a:off x="755470" y="987530"/>
                <a:ext cx="7201000" cy="14773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28600" indent="-228600" algn="ctr">
                  <a:buAutoNum type="arabicPeriod"/>
                </a:pPr>
                <a:endParaRPr lang="en-US" dirty="0" smtClean="0"/>
              </a:p>
              <a:p>
                <a:pPr algn="ctr"/>
                <a:r>
                  <a:rPr lang="ru-RU" dirty="0" smtClean="0"/>
                  <a:t>Проверка качества модели на кросс</a:t>
                </a:r>
                <a:r>
                  <a:rPr lang="en-US" dirty="0" smtClean="0"/>
                  <a:t>-</a:t>
                </a:r>
                <a:r>
                  <a:rPr lang="ru-RU" dirty="0" err="1" smtClean="0"/>
                  <a:t>валидации</a:t>
                </a:r>
                <a:r>
                  <a:rPr lang="ru-RU" dirty="0" smtClean="0"/>
                  <a:t> на 5 </a:t>
                </a:r>
                <a:r>
                  <a:rPr lang="ru-RU" dirty="0" err="1" smtClean="0"/>
                  <a:t>фолдов</a:t>
                </a:r>
                <a:r>
                  <a:rPr lang="ru-RU" dirty="0" smtClean="0"/>
                  <a:t>.</a:t>
                </a:r>
                <a:endParaRPr lang="en-US" dirty="0" smtClean="0"/>
              </a:p>
              <a:p>
                <a:pPr algn="ctr"/>
                <a:r>
                  <a:rPr lang="ru-RU" dirty="0" smtClean="0"/>
                  <a:t> </a:t>
                </a:r>
                <a:endParaRPr lang="en-US" dirty="0" smtClean="0"/>
              </a:p>
              <a:p>
                <a:pPr algn="ctr"/>
                <a:r>
                  <a:rPr lang="en-US" dirty="0" smtClean="0"/>
                  <a:t>ROC-AUC 0.57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  <a:ea typeface="Cambria Math"/>
                      </a:rPr>
                      <m:t>±</m:t>
                    </m:r>
                  </m:oMath>
                </a14:m>
                <a:r>
                  <a:rPr lang="ru-RU" dirty="0" smtClean="0"/>
                  <a:t>0</a:t>
                </a:r>
                <a:r>
                  <a:rPr lang="en-US" dirty="0" smtClean="0"/>
                  <a:t>.02  </a:t>
                </a:r>
                <a:endParaRPr lang="en-US" dirty="0"/>
              </a:p>
              <a:p>
                <a:pPr marL="228600" indent="-228600"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470" y="987530"/>
                <a:ext cx="7201000" cy="1477328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622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nonbusiness" value=""/>
</sisl>
</file>

<file path=customXml/item2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Gl0ZW0+PHNpc2wgc2lzbFZlcnNpb249IjAiIHBvbGljeT0iYmQ1YjVjMTctZmYwZS00YTQ1LThhZGUtYjFkYjllMWZiODA0IiBvcmlnaW49InVzZXJTZWxlY3RlZCI+PGVsZW1lbnQgdWlkPSJpZF9jbGFzc2lmaWNhdGlvbl9ub25idXNpbmVzcyIgdmFsdWU9IiIgeG1sbnM9Imh0dHA6Ly93d3cuYm9sZG9uamFtZXMuY29tLzIwMDgvMDEvc2llL2ludGVybmFsL2xhYmVsIiAvPjwvc2lzbD48VXNlck5hbWU+Uk9TQkFOS1xyYjA2NjQ0MDwvVXNlck5hbWU+PERhdGVUaW1lPjI4LjA5LjIwMTggNzo1MjoxOTwvRGF0ZVRpbWU+PExhYmVsU3RyaW5nPkMwIHwgJiN4NDFFOyYjeDQzMTsmI3g0NDk7JiN4NDM1OyYjeDQzNDsmI3g0M0U7JiN4NDQxOyYjeDQ0MjsmI3g0NDM7JiN4NDNGOyYjeDQzRDsmI3g0MzA7JiN4NDRGOyAmI3g0Mzg7JiN4NDNEOyYjeDQ0NDsmI3g0M0U7JiN4NDQwOyYjeDQzQzsmI3g0MzA7JiN4NDQ2OyYjeDQzODsmI3g0NEY7PC9MYWJlbFN0cmluZz48L2l0ZW0+PC9sYWJlbEhpc3Rvcnk+</Value>
</WrappedLabelHistory>
</file>

<file path=customXml/itemProps1.xml><?xml version="1.0" encoding="utf-8"?>
<ds:datastoreItem xmlns:ds="http://schemas.openxmlformats.org/officeDocument/2006/customXml" ds:itemID="{AD4274AB-9150-4E68-8F6C-AB4F0AA5BD70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E547A48B-4695-45A6-9372-74F85A7DB1DB}">
  <ds:schemaRefs>
    <ds:schemaRef ds:uri="http://www.w3.org/2001/XMLSchema"/>
    <ds:schemaRef ds:uri="http://www.boldonjames.com/2016/02/Classifier/internal/wrappedLabelHistor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965</TotalTime>
  <Words>412</Words>
  <Application>Microsoft Office PowerPoint</Application>
  <PresentationFormat>Экран (16:9)</PresentationFormat>
  <Paragraphs>111</Paragraphs>
  <Slides>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1_Оформление по умолчанию</vt:lpstr>
      <vt:lpstr>think-cell Slide</vt:lpstr>
      <vt:lpstr>Тематическое моделирование на данных проводок. </vt:lpstr>
      <vt:lpstr>Постановка задачи</vt:lpstr>
      <vt:lpstr>Формирование признакового описания объекта </vt:lpstr>
      <vt:lpstr>Тематическое моделирование</vt:lpstr>
      <vt:lpstr>Формирование признаков на основе тематик.</vt:lpstr>
      <vt:lpstr>Результат работы модели тематического моделирования.</vt:lpstr>
      <vt:lpstr>Логистическая регрессия.</vt:lpstr>
    </vt:vector>
  </TitlesOfParts>
  <Company>ROS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0 - Public |j,llsaj12398**C0)knasdals|</dc:description>
  <cp:lastModifiedBy>Мамаев</cp:lastModifiedBy>
  <cp:revision>4061</cp:revision>
  <cp:lastPrinted>2018-04-24T14:30:38Z</cp:lastPrinted>
  <dcterms:created xsi:type="dcterms:W3CDTF">2013-09-23T08:03:06Z</dcterms:created>
  <dcterms:modified xsi:type="dcterms:W3CDTF">2019-04-18T09:2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b7c0c33-02b4-4354-bd7c-e55c618d6a0b</vt:lpwstr>
  </property>
  <property fmtid="{D5CDD505-2E9C-101B-9397-08002B2CF9AE}" pid="3" name="bjSaver">
    <vt:lpwstr>0q1XEv+o2qC9McKq3895H6WyVTAMQnZ8</vt:lpwstr>
  </property>
  <property fmtid="{D5CDD505-2E9C-101B-9397-08002B2CF9AE}" pid="4" name="bjLabelHistoryID">
    <vt:lpwstr>{E547A48B-4695-45A6-9372-74F85A7DB1DB}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6" name="bjDocumentLabelXML-0">
    <vt:lpwstr>ames.com/2008/01/sie/internal/label"&gt;&lt;element uid="id_classification_nonbusiness" value="" /&gt;&lt;/sisl&gt;</vt:lpwstr>
  </property>
  <property fmtid="{D5CDD505-2E9C-101B-9397-08002B2CF9AE}" pid="7" name="bjDocumentSecurityLabel">
    <vt:lpwstr>C0 | Общедоступная информация</vt:lpwstr>
  </property>
</Properties>
</file>